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9" r:id="rId6"/>
  </p:sldMasterIdLst>
  <p:sldIdLst>
    <p:sldId id="2146845380" r:id="rId7"/>
    <p:sldId id="2146845404" r:id="rId8"/>
    <p:sldId id="2146845405" r:id="rId9"/>
    <p:sldId id="2146845403" r:id="rId10"/>
    <p:sldId id="2146845381" r:id="rId11"/>
    <p:sldId id="2146845392" r:id="rId12"/>
    <p:sldId id="2146845383" r:id="rId13"/>
    <p:sldId id="2146845387" r:id="rId14"/>
    <p:sldId id="2146845390" r:id="rId15"/>
    <p:sldId id="2146845377" r:id="rId16"/>
    <p:sldId id="2146845398" r:id="rId17"/>
    <p:sldId id="2146845401" r:id="rId18"/>
    <p:sldId id="2146845397" r:id="rId19"/>
    <p:sldId id="2146845393" r:id="rId20"/>
    <p:sldId id="2146845395" r:id="rId21"/>
    <p:sldId id="2146845402" r:id="rId22"/>
    <p:sldId id="2146845394" r:id="rId23"/>
    <p:sldId id="2146845396" r:id="rId24"/>
    <p:sldId id="2146845388" r:id="rId25"/>
    <p:sldId id="2146845391" r:id="rId26"/>
    <p:sldId id="2146845389" r:id="rId27"/>
    <p:sldId id="214684539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1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4516B812-6E66-4604-8711-D914CF2F6D9E}"/>
    <pc:docChg chg="custSel modSld">
      <pc:chgData name="Gareth Allott" userId="d67bc1e7-5e6e-4540-bcf9-468a02f7a83e" providerId="ADAL" clId="{4516B812-6E66-4604-8711-D914CF2F6D9E}" dt="2021-04-09T16:34:12.688" v="6" actId="1076"/>
      <pc:docMkLst>
        <pc:docMk/>
      </pc:docMkLst>
      <pc:sldChg chg="delSp modSp mod">
        <pc:chgData name="Gareth Allott" userId="d67bc1e7-5e6e-4540-bcf9-468a02f7a83e" providerId="ADAL" clId="{4516B812-6E66-4604-8711-D914CF2F6D9E}" dt="2021-04-09T16:34:12.688" v="6" actId="1076"/>
        <pc:sldMkLst>
          <pc:docMk/>
          <pc:sldMk cId="1495903228" sldId="2146845391"/>
        </pc:sldMkLst>
        <pc:picChg chg="mod">
          <ac:chgData name="Gareth Allott" userId="d67bc1e7-5e6e-4540-bcf9-468a02f7a83e" providerId="ADAL" clId="{4516B812-6E66-4604-8711-D914CF2F6D9E}" dt="2021-04-09T16:34:12.688" v="6" actId="1076"/>
          <ac:picMkLst>
            <pc:docMk/>
            <pc:sldMk cId="1495903228" sldId="2146845391"/>
            <ac:picMk id="4" creationId="{15AC11EE-867A-49BD-9D59-4ED21EA9BCE0}"/>
          </ac:picMkLst>
        </pc:picChg>
        <pc:picChg chg="del mod">
          <ac:chgData name="Gareth Allott" userId="d67bc1e7-5e6e-4540-bcf9-468a02f7a83e" providerId="ADAL" clId="{4516B812-6E66-4604-8711-D914CF2F6D9E}" dt="2021-04-07T12:40:54.989" v="5" actId="478"/>
          <ac:picMkLst>
            <pc:docMk/>
            <pc:sldMk cId="1495903228" sldId="2146845391"/>
            <ac:picMk id="8" creationId="{A54586A7-86FC-4067-B38B-5C21211915AF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670481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15092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07058465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3016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99633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436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40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217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002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813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803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01789490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123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715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572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013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076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158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98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052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998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56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2262353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000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65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42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032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284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313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191768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9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37825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8C75A594-C36B-464D-920B-902099C38E9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24367137"/>
              </p:ext>
            </p:extLst>
          </p:nvPr>
        </p:nvGraphicFramePr>
        <p:xfrm>
          <a:off x="-2" y="0"/>
          <a:ext cx="12191998" cy="6896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1714">
                  <a:extLst>
                    <a:ext uri="{9D8B030D-6E8A-4147-A177-3AD203B41FA5}">
                      <a16:colId xmlns:a16="http://schemas.microsoft.com/office/drawing/2014/main" val="410272383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363599538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92623295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11458789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35373011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54257102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034810348"/>
                    </a:ext>
                  </a:extLst>
                </a:gridCol>
              </a:tblGrid>
              <a:tr h="68961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456596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4189A2C-3295-4A10-ACEB-2A4935E68462}"/>
              </a:ext>
            </a:extLst>
          </p:cNvPr>
          <p:cNvSpPr/>
          <p:nvPr userDrawn="1"/>
        </p:nvSpPr>
        <p:spPr bwMode="auto">
          <a:xfrm>
            <a:off x="0" y="0"/>
            <a:ext cx="12192000" cy="120801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1214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7420232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93599600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27524114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888558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013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794490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546437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952558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060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6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19" imgH="520" progId="TCLayout.ActiveDocument.1">
                  <p:embed/>
                </p:oleObj>
              </mc:Choice>
              <mc:Fallback>
                <p:oleObj name="think-cell Slide" r:id="rId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5998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microsoft.com/office/2007/relationships/hdphoto" Target="../media/hdphoto1.wdp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6.png"/><Relationship Id="rId7" Type="http://schemas.openxmlformats.org/officeDocument/2006/relationships/hyperlink" Target="http://www.google.com/" TargetMode="External"/><Relationship Id="rId12" Type="http://schemas.openxmlformats.org/officeDocument/2006/relationships/image" Target="../media/image3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6.png"/><Relationship Id="rId11" Type="http://schemas.openxmlformats.org/officeDocument/2006/relationships/image" Target="../media/image30.svg"/><Relationship Id="rId5" Type="http://schemas.openxmlformats.org/officeDocument/2006/relationships/image" Target="../media/image18.png"/><Relationship Id="rId10" Type="http://schemas.openxmlformats.org/officeDocument/2006/relationships/image" Target="../media/image29.png"/><Relationship Id="rId4" Type="http://schemas.openxmlformats.org/officeDocument/2006/relationships/image" Target="../media/image17.png"/><Relationship Id="rId9" Type="http://schemas.openxmlformats.org/officeDocument/2006/relationships/image" Target="../media/image2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6.png"/><Relationship Id="rId7" Type="http://schemas.openxmlformats.org/officeDocument/2006/relationships/image" Target="../media/image28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5" Type="http://schemas.openxmlformats.org/officeDocument/2006/relationships/hyperlink" Target="http://www.google.com/" TargetMode="External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18.png"/><Relationship Id="rId4" Type="http://schemas.openxmlformats.org/officeDocument/2006/relationships/hyperlink" Target="http://www.google.com/" TargetMode="External"/><Relationship Id="rId9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3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uesday 30</a:t>
            </a:r>
            <a:r>
              <a:rPr kumimoji="0" lang="en-GB" sz="18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e project te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psts</a:t>
            </a: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1304" y="2469609"/>
            <a:ext cx="10810627" cy="1296987"/>
          </a:xfrm>
        </p:spPr>
        <p:txBody>
          <a:bodyPr/>
          <a:lstStyle/>
          <a:p>
            <a:pPr algn="ctr"/>
            <a:r>
              <a:rPr lang="en-GB" dirty="0"/>
              <a:t>Menu page with all slides visualised for easy navigation</a:t>
            </a:r>
          </a:p>
        </p:txBody>
      </p:sp>
    </p:spTree>
    <p:extLst>
      <p:ext uri="{BB962C8B-B14F-4D97-AF65-F5344CB8AC3E}">
        <p14:creationId xmlns:p14="http://schemas.microsoft.com/office/powerpoint/2010/main" val="4244871606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B7071F0-397D-423E-AA91-6F323926FCC0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AEE83A-D614-4501-839A-20D5A4C21CEB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VA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571858-6C58-4AA8-B42E-61A9DACDBAB0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40 % Open Rate | 25% CT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E3BC18E-C376-4D3A-A7AD-9F05462915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BB3B33-A482-4D08-9088-ADF377302FA8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hlinkClick r:id="rId7"/>
            <a:extLst>
              <a:ext uri="{FF2B5EF4-FFF2-40B4-BE49-F238E27FC236}">
                <a16:creationId xmlns:a16="http://schemas.microsoft.com/office/drawing/2014/main" id="{6D4C932E-B4D4-4127-9A1D-7AF0F4892FFA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28" name="Graphic 27" descr="Cursor with solid fill">
            <a:extLst>
              <a:ext uri="{FF2B5EF4-FFF2-40B4-BE49-F238E27FC236}">
                <a16:creationId xmlns:a16="http://schemas.microsoft.com/office/drawing/2014/main" id="{D57214CA-F5CB-444A-A276-8BFBDC5DF7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AAD80F0-C88E-4D90-83E3-AB9FE4A2DBFD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mail Message / them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098726-E0A4-4EB0-AE17-2F5C1BCB874F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31" name="Graphic 30" descr="Rope Knot with solid fill">
            <a:extLst>
              <a:ext uri="{FF2B5EF4-FFF2-40B4-BE49-F238E27FC236}">
                <a16:creationId xmlns:a16="http://schemas.microsoft.com/office/drawing/2014/main" id="{968EBF90-1AEB-4F79-9F73-7F6BF3BAC2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92BA317-F24A-4665-A898-CC648B2F244C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F5FAF5-A333-4337-B056-258779FEA70D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2F Visit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964EC5E-1773-483F-9FF3-CD437AFD5AD7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Call length| Content Reaction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9D3476E-522F-4439-94C5-57781AF2745D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>
            <a:hlinkClick r:id="rId7"/>
            <a:extLst>
              <a:ext uri="{FF2B5EF4-FFF2-40B4-BE49-F238E27FC236}">
                <a16:creationId xmlns:a16="http://schemas.microsoft.com/office/drawing/2014/main" id="{9BC84EA9-C182-4924-8B4C-40339FA38445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37" name="Graphic 36" descr="Cursor with solid fill">
            <a:extLst>
              <a:ext uri="{FF2B5EF4-FFF2-40B4-BE49-F238E27FC236}">
                <a16:creationId xmlns:a16="http://schemas.microsoft.com/office/drawing/2014/main" id="{666FDFBE-2B4D-4469-98FB-D3BDE55063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02E75DC-7A65-422D-AC3B-AD6D64547F9F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ey Messages to deliv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501E205-4A6D-4D41-97D4-572DB858285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43" name="Graphic 42" descr="Rope Knot with solid fill">
            <a:extLst>
              <a:ext uri="{FF2B5EF4-FFF2-40B4-BE49-F238E27FC236}">
                <a16:creationId xmlns:a16="http://schemas.microsoft.com/office/drawing/2014/main" id="{7A7F9D74-00B4-4E7D-AA00-11925ADB00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196FDBE-0208-4E5A-A63A-C007890018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BE40ACE-58BD-4C34-A8A4-7BD20329B7BC}"/>
              </a:ext>
            </a:extLst>
          </p:cNvPr>
          <p:cNvCxnSpPr>
            <a:cxnSpLocks/>
            <a:stCxn id="23" idx="3"/>
            <a:endCxn id="33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A9DA4B9-4CEC-47F4-967B-C0B5A418702D}"/>
              </a:ext>
            </a:extLst>
          </p:cNvPr>
          <p:cNvSpPr txBox="1"/>
          <p:nvPr/>
        </p:nvSpPr>
        <p:spPr>
          <a:xfrm>
            <a:off x="1987180" y="216349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tive li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o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the touchpoints are connected with enough room for some detail, links and more infor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E63DF-0E50-4ACF-A85F-946E0C249528}"/>
              </a:ext>
            </a:extLst>
          </p:cNvPr>
          <p:cNvSpPr txBox="1"/>
          <p:nvPr/>
        </p:nvSpPr>
        <p:spPr>
          <a:xfrm>
            <a:off x="4102295" y="2055776"/>
            <a:ext cx="724801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 </a:t>
            </a:r>
            <a:r>
              <a:rPr kumimoji="0" lang="en-GB" sz="1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Too much det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Not supposed to be exhaus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80 AE fragments – can’t possibly include all these in the journeys – this is illustra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10 journeys to capture the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key flows, the must haves,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Important to demo how the channels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CA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be connected together and fit into a journe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(sent email doesn’t mean opened or understoo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Mastery of the basics/key elements for Launch – core channel executio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e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 no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whatsapp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) (also visualising what a differentiated campaign would be in these journey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ACTI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: Show upfront that we’re focusing on the core 10 flows, and what they’re f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What is intent of AE? </a:t>
            </a:r>
            <a:r>
              <a:rPr kumimoji="0" lang="en-GB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Demonstrate this in the journey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0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D78FD5-59CD-4D34-B4FE-7ED14930073A}"/>
              </a:ext>
            </a:extLst>
          </p:cNvPr>
          <p:cNvSpPr/>
          <p:nvPr/>
        </p:nvSpPr>
        <p:spPr bwMode="auto">
          <a:xfrm>
            <a:off x="557339" y="2027763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B82019-A486-4C79-AF49-7AA9AF825D3A}"/>
              </a:ext>
            </a:extLst>
          </p:cNvPr>
          <p:cNvSpPr/>
          <p:nvPr/>
        </p:nvSpPr>
        <p:spPr bwMode="auto">
          <a:xfrm>
            <a:off x="557339" y="4365258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2</a:t>
            </a:r>
          </a:p>
        </p:txBody>
      </p:sp>
    </p:spTree>
    <p:extLst>
      <p:ext uri="{BB962C8B-B14F-4D97-AF65-F5344CB8AC3E}">
        <p14:creationId xmlns:p14="http://schemas.microsoft.com/office/powerpoint/2010/main" val="144011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AAD9A9E-D080-4A6E-AE56-E9003A947992}"/>
              </a:ext>
            </a:extLst>
          </p:cNvPr>
          <p:cNvGraphicFramePr>
            <a:graphicFrameLocks noGrp="1"/>
          </p:cNvGraphicFramePr>
          <p:nvPr/>
        </p:nvGraphicFramePr>
        <p:xfrm>
          <a:off x="9524" y="1214149"/>
          <a:ext cx="12182478" cy="1828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60826">
                  <a:extLst>
                    <a:ext uri="{9D8B030D-6E8A-4147-A177-3AD203B41FA5}">
                      <a16:colId xmlns:a16="http://schemas.microsoft.com/office/drawing/2014/main" val="936579143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794538880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936598613"/>
                    </a:ext>
                  </a:extLst>
                </a:gridCol>
              </a:tblGrid>
              <a:tr h="176501">
                <a:tc>
                  <a:txBody>
                    <a:bodyPr/>
                    <a:lstStyle/>
                    <a:p>
                      <a:pPr algn="ctr"/>
                      <a:r>
                        <a:rPr lang="en-GB" sz="600" dirty="0"/>
                        <a:t>May</a:t>
                      </a:r>
                      <a:endParaRPr lang="en-GB" sz="4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n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98691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009DFDF9-6484-4552-A400-5277AEB87AB3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41E0DE6-2AE1-4463-9200-CDD40B9F8331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C8B19940-09D1-4817-85EA-D83E8FF5CE61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06CB3818-19AD-474B-A201-D9211BF9785D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459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C4ACA-AD91-4640-80C9-57C0E290A8D5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BA80EA-8636-46AF-AB4F-8144EB03A5CD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VA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1183A4-12E6-48A9-954D-97F53B69475B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40 % Open Rate | 25% CT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352F4D3-1981-4926-98A3-438DA2E1AB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249B83B-84BB-4A3E-81BF-EC28611A31DA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29">
            <a:hlinkClick r:id="rId5"/>
            <a:extLst>
              <a:ext uri="{FF2B5EF4-FFF2-40B4-BE49-F238E27FC236}">
                <a16:creationId xmlns:a16="http://schemas.microsoft.com/office/drawing/2014/main" id="{907DB02E-E3DB-4B20-9297-E0658F938352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32" name="Graphic 31" descr="Cursor with solid fill">
            <a:extLst>
              <a:ext uri="{FF2B5EF4-FFF2-40B4-BE49-F238E27FC236}">
                <a16:creationId xmlns:a16="http://schemas.microsoft.com/office/drawing/2014/main" id="{FB9F9049-B62F-4E58-A7C7-AD2DA34AB7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D5F6816-D8D1-405D-BC21-896FB6F24BD3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mail Message / the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3AF11C3-2B49-4FB7-B1BC-5DB18F9A835B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37" name="Graphic 36" descr="Rope Knot with solid fill">
            <a:extLst>
              <a:ext uri="{FF2B5EF4-FFF2-40B4-BE49-F238E27FC236}">
                <a16:creationId xmlns:a16="http://schemas.microsoft.com/office/drawing/2014/main" id="{84512670-9D8F-410C-BC26-BA20C06CFD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CF50AA5F-96BC-485B-A81E-E0C5E36E80AF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1213884-41E1-426A-933F-51F6C448EF42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2F Visit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35B057C-F3A3-4F22-AB2B-1CC9F004B2A3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Call length| Content Reaction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19849EC-65FC-4E0D-AB76-A9C76CDFD381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>
            <a:hlinkClick r:id="rId5"/>
            <a:extLst>
              <a:ext uri="{FF2B5EF4-FFF2-40B4-BE49-F238E27FC236}">
                <a16:creationId xmlns:a16="http://schemas.microsoft.com/office/drawing/2014/main" id="{02CBDA2C-822E-434D-BE85-2C3CCFCD8027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81" name="Graphic 80" descr="Cursor with solid fill">
            <a:extLst>
              <a:ext uri="{FF2B5EF4-FFF2-40B4-BE49-F238E27FC236}">
                <a16:creationId xmlns:a16="http://schemas.microsoft.com/office/drawing/2014/main" id="{91ADE453-E1D1-4502-AD92-8640C962CD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221E554-3F47-4704-880D-3D914EE0AE73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ey Messages to deliver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2297F6-10CC-49C2-80A2-0B050A9BEA4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84" name="Graphic 83" descr="Rope Knot with solid fill">
            <a:extLst>
              <a:ext uri="{FF2B5EF4-FFF2-40B4-BE49-F238E27FC236}">
                <a16:creationId xmlns:a16="http://schemas.microsoft.com/office/drawing/2014/main" id="{53F8B173-723F-45D7-A793-6713BF7ADB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48F90E7F-3396-45F9-ABD9-AD5144A112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EBA2F40A-FEC0-40FA-B19A-1236FA753E82}"/>
              </a:ext>
            </a:extLst>
          </p:cNvPr>
          <p:cNvCxnSpPr>
            <a:cxnSpLocks/>
            <a:stCxn id="22" idx="3"/>
            <a:endCxn id="75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524010D7-D822-4B0A-8837-659404E1AD27}"/>
              </a:ext>
            </a:extLst>
          </p:cNvPr>
          <p:cNvSpPr txBox="1"/>
          <p:nvPr/>
        </p:nvSpPr>
        <p:spPr>
          <a:xfrm>
            <a:off x="2003807" y="214552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tive li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o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the touchpoints are connected with enough room for some detail, links and more information</a:t>
            </a:r>
          </a:p>
        </p:txBody>
      </p:sp>
    </p:spTree>
    <p:extLst>
      <p:ext uri="{BB962C8B-B14F-4D97-AF65-F5344CB8AC3E}">
        <p14:creationId xmlns:p14="http://schemas.microsoft.com/office/powerpoint/2010/main" val="404239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A8A891-461D-43B4-B568-9B7D922F506B}"/>
              </a:ext>
            </a:extLst>
          </p:cNvPr>
          <p:cNvSpPr txBox="1"/>
          <p:nvPr/>
        </p:nvSpPr>
        <p:spPr>
          <a:xfrm>
            <a:off x="0" y="0"/>
            <a:ext cx="12192000" cy="347769"/>
          </a:xfrm>
          <a:prstGeom prst="rect">
            <a:avLst/>
          </a:prstGeom>
          <a:solidFill>
            <a:schemeClr val="accent1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10731EDE-360E-4B3F-A806-DA55E2B0A5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5825B4E-5EA0-420B-AE04-26237FE30041}"/>
              </a:ext>
            </a:extLst>
          </p:cNvPr>
          <p:cNvSpPr/>
          <p:nvPr/>
        </p:nvSpPr>
        <p:spPr bwMode="auto">
          <a:xfrm>
            <a:off x="36964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0A113C4-9442-47B4-ADBF-2B859F9CB4B0}"/>
              </a:ext>
            </a:extLst>
          </p:cNvPr>
          <p:cNvSpPr/>
          <p:nvPr/>
        </p:nvSpPr>
        <p:spPr bwMode="auto">
          <a:xfrm>
            <a:off x="36964" y="1413411"/>
            <a:ext cx="1686187" cy="230832"/>
          </a:xfrm>
          <a:prstGeom prst="rect">
            <a:avLst/>
          </a:prstGeom>
          <a:solidFill>
            <a:srgbClr val="A15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VA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AC725A-A18B-474E-B9A2-CD8EF6BEB748}"/>
              </a:ext>
            </a:extLst>
          </p:cNvPr>
          <p:cNvSpPr/>
          <p:nvPr/>
        </p:nvSpPr>
        <p:spPr bwMode="auto">
          <a:xfrm>
            <a:off x="36964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40 % Open Rate | 25% CT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4DE4AAF-6A01-43BF-A1D7-B96F025B4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2699287"/>
            <a:ext cx="1088775" cy="438388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CF761B-4B23-4F59-AE59-2EAA707D5275}"/>
              </a:ext>
            </a:extLst>
          </p:cNvPr>
          <p:cNvCxnSpPr/>
          <p:nvPr/>
        </p:nvCxnSpPr>
        <p:spPr bwMode="auto">
          <a:xfrm>
            <a:off x="36964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>
            <a:hlinkClick r:id="rId4"/>
            <a:extLst>
              <a:ext uri="{FF2B5EF4-FFF2-40B4-BE49-F238E27FC236}">
                <a16:creationId xmlns:a16="http://schemas.microsoft.com/office/drawing/2014/main" id="{192F268A-AF07-4385-9B0A-810C8942F0B3}"/>
              </a:ext>
            </a:extLst>
          </p:cNvPr>
          <p:cNvSpPr/>
          <p:nvPr/>
        </p:nvSpPr>
        <p:spPr bwMode="auto">
          <a:xfrm>
            <a:off x="493819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44" name="Graphic 43" descr="Cursor with solid fill">
            <a:extLst>
              <a:ext uri="{FF2B5EF4-FFF2-40B4-BE49-F238E27FC236}">
                <a16:creationId xmlns:a16="http://schemas.microsoft.com/office/drawing/2014/main" id="{77482B16-5968-42C4-8620-0CA45D0B0A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3399603"/>
            <a:ext cx="128044" cy="1280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377B2361-6958-4673-BA0A-3F4E122240F2}"/>
              </a:ext>
            </a:extLst>
          </p:cNvPr>
          <p:cNvSpPr txBox="1"/>
          <p:nvPr/>
        </p:nvSpPr>
        <p:spPr>
          <a:xfrm>
            <a:off x="107011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mail Message / the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E0AD14-3F7B-4171-B7F2-76A5BB63996B}"/>
              </a:ext>
            </a:extLst>
          </p:cNvPr>
          <p:cNvSpPr/>
          <p:nvPr/>
        </p:nvSpPr>
        <p:spPr bwMode="auto">
          <a:xfrm>
            <a:off x="1205055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47" name="Graphic 46" descr="Rope Knot with solid fill">
            <a:extLst>
              <a:ext uri="{FF2B5EF4-FFF2-40B4-BE49-F238E27FC236}">
                <a16:creationId xmlns:a16="http://schemas.microsoft.com/office/drawing/2014/main" id="{CCE00872-C296-4678-9485-34CE9CAA13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2745917"/>
            <a:ext cx="149512" cy="149512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ED44085-76CA-4BB8-9C66-E63013345373}"/>
              </a:ext>
            </a:extLst>
          </p:cNvPr>
          <p:cNvSpPr/>
          <p:nvPr/>
        </p:nvSpPr>
        <p:spPr bwMode="auto">
          <a:xfrm>
            <a:off x="36964" y="4495543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21FCF9-21D4-4F13-A346-32F6FAC8A622}"/>
              </a:ext>
            </a:extLst>
          </p:cNvPr>
          <p:cNvSpPr/>
          <p:nvPr/>
        </p:nvSpPr>
        <p:spPr bwMode="auto">
          <a:xfrm>
            <a:off x="36964" y="4264712"/>
            <a:ext cx="1686187" cy="230832"/>
          </a:xfrm>
          <a:prstGeom prst="rect">
            <a:avLst/>
          </a:prstGeom>
          <a:solidFill>
            <a:srgbClr val="8CA50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VA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1647C69-3073-49CC-948B-176C1E5BD5AD}"/>
              </a:ext>
            </a:extLst>
          </p:cNvPr>
          <p:cNvSpPr/>
          <p:nvPr/>
        </p:nvSpPr>
        <p:spPr bwMode="auto">
          <a:xfrm>
            <a:off x="36964" y="6022340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PIs – 40 % Open Rate | 25% CTR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9A085C3-AEC8-4E9A-972F-89F1AFA79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5550588"/>
            <a:ext cx="1088775" cy="438388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D2DED7D-3777-45C7-9E9F-3FFBFDECA242}"/>
              </a:ext>
            </a:extLst>
          </p:cNvPr>
          <p:cNvCxnSpPr/>
          <p:nvPr/>
        </p:nvCxnSpPr>
        <p:spPr bwMode="auto">
          <a:xfrm>
            <a:off x="36964" y="5486551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>
            <a:hlinkClick r:id="rId4"/>
            <a:extLst>
              <a:ext uri="{FF2B5EF4-FFF2-40B4-BE49-F238E27FC236}">
                <a16:creationId xmlns:a16="http://schemas.microsoft.com/office/drawing/2014/main" id="{8D6E85D1-C1AC-48D3-8124-F9F785EBCEA5}"/>
              </a:ext>
            </a:extLst>
          </p:cNvPr>
          <p:cNvSpPr/>
          <p:nvPr/>
        </p:nvSpPr>
        <p:spPr bwMode="auto">
          <a:xfrm>
            <a:off x="493819" y="6253172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54" name="Graphic 53" descr="Cursor with solid fill">
            <a:extLst>
              <a:ext uri="{FF2B5EF4-FFF2-40B4-BE49-F238E27FC236}">
                <a16:creationId xmlns:a16="http://schemas.microsoft.com/office/drawing/2014/main" id="{9B451FC6-84F2-48C1-BDEB-B9488A3196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6250904"/>
            <a:ext cx="128044" cy="12804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A3B46CA-678C-4848-8074-56520DD25313}"/>
              </a:ext>
            </a:extLst>
          </p:cNvPr>
          <p:cNvSpPr txBox="1"/>
          <p:nvPr/>
        </p:nvSpPr>
        <p:spPr>
          <a:xfrm>
            <a:off x="107011" y="4588713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oal of Intera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63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mail Message / them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65D45C1-755C-490C-A78F-A8A0BF73702A}"/>
              </a:ext>
            </a:extLst>
          </p:cNvPr>
          <p:cNvSpPr/>
          <p:nvPr/>
        </p:nvSpPr>
        <p:spPr bwMode="auto">
          <a:xfrm>
            <a:off x="1205055" y="5550588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nk to Content</a:t>
            </a:r>
          </a:p>
        </p:txBody>
      </p:sp>
      <p:pic>
        <p:nvPicPr>
          <p:cNvPr id="57" name="Graphic 56" descr="Rope Knot with solid fill">
            <a:extLst>
              <a:ext uri="{FF2B5EF4-FFF2-40B4-BE49-F238E27FC236}">
                <a16:creationId xmlns:a16="http://schemas.microsoft.com/office/drawing/2014/main" id="{473AAA6F-6D9D-4A3C-AF27-196A1B9BAF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5597218"/>
            <a:ext cx="149512" cy="149512"/>
          </a:xfrm>
          <a:prstGeom prst="rect">
            <a:avLst/>
          </a:prstGeom>
        </p:spPr>
      </p:pic>
      <p:pic>
        <p:nvPicPr>
          <p:cNvPr id="59" name="Picture 58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CC34CABE-31A0-4B5D-8208-1F8295C8EB0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4" y="1330644"/>
            <a:ext cx="314604" cy="314604"/>
          </a:xfrm>
          <a:prstGeom prst="rect">
            <a:avLst/>
          </a:prstGeom>
          <a:ln>
            <a:noFill/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B480BDF6-0ABB-4A4D-8996-50A2112FE7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75" y="4130973"/>
            <a:ext cx="335523" cy="335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8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F82286-53DA-46C4-A44F-F591E2E33200}"/>
              </a:ext>
            </a:extLst>
          </p:cNvPr>
          <p:cNvSpPr txBox="1"/>
          <p:nvPr/>
        </p:nvSpPr>
        <p:spPr>
          <a:xfrm>
            <a:off x="2400300" y="1369625"/>
            <a:ext cx="662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ther option is a more ‘map-like’ layout with less information but more connec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A56776-2665-429F-A155-7A041814C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753" y="2558924"/>
            <a:ext cx="11665147" cy="32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9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ell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689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357739-166F-4111-8049-D38397EE5296}"/>
              </a:ext>
            </a:extLst>
          </p:cNvPr>
          <p:cNvSpPr/>
          <p:nvPr/>
        </p:nvSpPr>
        <p:spPr bwMode="auto">
          <a:xfrm>
            <a:off x="0" y="1556796"/>
            <a:ext cx="12192000" cy="2164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AA01F9-F116-467F-9D52-FEE3942F9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E76C1-8EF9-40A9-9960-DA90F9EA969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2120710"/>
            <a:ext cx="10806722" cy="43434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Revisit and confirm the </a:t>
            </a:r>
            <a:r>
              <a:rPr lang="en-GB" b="1" dirty="0">
                <a:solidFill>
                  <a:schemeClr val="tx2"/>
                </a:solidFill>
              </a:rPr>
              <a:t>Journey Templates/Format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/>
              <a:t>Define some Journey </a:t>
            </a:r>
            <a:r>
              <a:rPr lang="en-GB" b="1" dirty="0">
                <a:solidFill>
                  <a:schemeClr val="tx2"/>
                </a:solidFill>
              </a:rPr>
              <a:t>entry points</a:t>
            </a:r>
            <a:r>
              <a:rPr lang="en-GB" dirty="0"/>
              <a:t> and key </a:t>
            </a:r>
            <a:r>
              <a:rPr lang="en-GB" b="1" dirty="0">
                <a:solidFill>
                  <a:schemeClr val="tx2"/>
                </a:solidFill>
              </a:rPr>
              <a:t>starting poi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4131B8-A2D8-4202-82EB-11D2685951B3}"/>
              </a:ext>
            </a:extLst>
          </p:cNvPr>
          <p:cNvSpPr txBox="1"/>
          <p:nvPr/>
        </p:nvSpPr>
        <p:spPr>
          <a:xfrm>
            <a:off x="906162" y="3721608"/>
            <a:ext cx="89133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1 – above market illustration of content, channels, messages etc</a:t>
            </a:r>
          </a:p>
          <a:p>
            <a:r>
              <a:rPr lang="en-GB" dirty="0"/>
              <a:t>Yes no on email receipt – how to incorporate these decisions and NBA</a:t>
            </a:r>
          </a:p>
          <a:p>
            <a:r>
              <a:rPr lang="en-GB" dirty="0"/>
              <a:t>G: start creating Custellence design options</a:t>
            </a:r>
          </a:p>
        </p:txBody>
      </p:sp>
    </p:spTree>
    <p:extLst>
      <p:ext uri="{BB962C8B-B14F-4D97-AF65-F5344CB8AC3E}">
        <p14:creationId xmlns:p14="http://schemas.microsoft.com/office/powerpoint/2010/main" val="3786229988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539" y="1823761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journey mapping tools discovered have simple integrations with CR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l tools allow for exporting the journeys, however exporting in aspect ratio suitable for PPT always requires some fines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ther tools have more functionality, or more customisation, but at a simplicity cost that is too significant. 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ur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4265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ral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ural is an alternative option that allows for visualisation of the entire journey together, with more flexibility for layouts and connec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n visualise entire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ximum flexi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re time to buil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isible to many users without licen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64B33A-C94D-4C17-BF64-E5515A3DF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400" y="2297877"/>
            <a:ext cx="3770926" cy="237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99834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59DF7343-530C-462A-9976-A766FB1F5C05}"/>
              </a:ext>
            </a:extLst>
          </p:cNvPr>
          <p:cNvSpPr/>
          <p:nvPr/>
        </p:nvSpPr>
        <p:spPr bwMode="auto">
          <a:xfrm>
            <a:off x="0" y="2029968"/>
            <a:ext cx="1258015" cy="448056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942791A8-9192-43CA-8ED4-A2206D430C1A}"/>
              </a:ext>
            </a:extLst>
          </p:cNvPr>
          <p:cNvSpPr/>
          <p:nvPr/>
        </p:nvSpPr>
        <p:spPr bwMode="auto">
          <a:xfrm>
            <a:off x="0" y="3763663"/>
            <a:ext cx="1258015" cy="448056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A1BF0186-8F8B-46A2-8F60-A4E27079173C}"/>
              </a:ext>
            </a:extLst>
          </p:cNvPr>
          <p:cNvSpPr/>
          <p:nvPr/>
        </p:nvSpPr>
        <p:spPr bwMode="auto">
          <a:xfrm>
            <a:off x="-24637" y="5468285"/>
            <a:ext cx="1258015" cy="448056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90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D5802-259A-472F-B643-E69CCDF447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691CEF-B128-4830-B512-F8C5A7786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B982B-A6C9-446E-92C1-55F26A02D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73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2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riday 23rd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e project te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2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ol Comparison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/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Poi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782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14E8FF3-0B84-4ABE-B050-06F2FF56D991}"/>
              </a:ext>
            </a:extLst>
          </p:cNvPr>
          <p:cNvSpPr/>
          <p:nvPr/>
        </p:nvSpPr>
        <p:spPr bwMode="auto">
          <a:xfrm>
            <a:off x="619125" y="1333500"/>
            <a:ext cx="10496550" cy="3333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PT touchpoint principl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BDECBE-CF40-48A2-8DFF-A9343DD53B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3" y="1554163"/>
            <a:ext cx="9744217" cy="4343400"/>
          </a:xfrm>
        </p:spPr>
        <p:txBody>
          <a:bodyPr/>
          <a:lstStyle/>
          <a:p>
            <a:r>
              <a:rPr lang="en-GB" sz="2000" dirty="0"/>
              <a:t>Fill the space with useful information – the touchpoints are priority from a UX perspective</a:t>
            </a:r>
          </a:p>
          <a:p>
            <a:r>
              <a:rPr lang="en-GB" sz="2000" dirty="0"/>
              <a:t>Standard format across pages for navigation</a:t>
            </a:r>
          </a:p>
          <a:p>
            <a:r>
              <a:rPr lang="en-GB" sz="2000" dirty="0"/>
              <a:t>7 steps per adoption stage (marketing rule of thumb)</a:t>
            </a:r>
          </a:p>
          <a:p>
            <a:r>
              <a:rPr lang="en-GB" sz="2000" dirty="0"/>
              <a:t>The more descriptive each touchpoint is the easier it is to execute: </a:t>
            </a:r>
          </a:p>
          <a:p>
            <a:pPr lvl="1"/>
            <a:r>
              <a:rPr lang="en-GB" sz="1800" b="1" dirty="0">
                <a:solidFill>
                  <a:schemeClr val="tx2"/>
                </a:solidFill>
              </a:rPr>
              <a:t>Channel – Goal of Interaction - Message – Link to Content – KPIs – Link to playbooks</a:t>
            </a:r>
          </a:p>
          <a:p>
            <a:endParaRPr lang="en-GB" sz="20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A57729-F1AE-466C-A501-164D31B19492}"/>
              </a:ext>
            </a:extLst>
          </p:cNvPr>
          <p:cNvSpPr txBox="1"/>
          <p:nvPr/>
        </p:nvSpPr>
        <p:spPr>
          <a:xfrm>
            <a:off x="619125" y="4840448"/>
            <a:ext cx="102613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Experience – can result in huge files that have usage limi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Quick changes are often difficult and require lots of moving things arou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Need to be easily copied into a PPT for presenting the outputs clearl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Option could be to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to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ahoma"/>
                <a:ea typeface="+mn-ea"/>
                <a:cs typeface="+mn-cs"/>
              </a:rPr>
              <a:t> design in a tool, and manage elsewhere.</a:t>
            </a:r>
          </a:p>
        </p:txBody>
      </p:sp>
    </p:spTree>
    <p:extLst>
      <p:ext uri="{BB962C8B-B14F-4D97-AF65-F5344CB8AC3E}">
        <p14:creationId xmlns:p14="http://schemas.microsoft.com/office/powerpoint/2010/main" val="874096528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9046A1D-E7C0-4FDF-987C-8DE6329CE0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E19D7-E076-4B09-B342-DE28DD2076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0A46C13-5A0B-41DB-AF57-8A5BE132B71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75</TotalTime>
  <Words>1378</Words>
  <Application>Microsoft Office PowerPoint</Application>
  <PresentationFormat>Widescreen</PresentationFormat>
  <Paragraphs>22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_Office Theme</vt:lpstr>
      <vt:lpstr>1_Galapagos_template_Basic</vt:lpstr>
      <vt:lpstr>think-cell Slide</vt:lpstr>
      <vt:lpstr>PowerPoint Presentation</vt:lpstr>
      <vt:lpstr>Objectives</vt:lpstr>
      <vt:lpstr>PowerPoint Presentation</vt:lpstr>
      <vt:lpstr>Appendix</vt:lpstr>
      <vt:lpstr>PowerPoint Presentation</vt:lpstr>
      <vt:lpstr>PowerPoint Presentation</vt:lpstr>
      <vt:lpstr>Tool Comparison</vt:lpstr>
      <vt:lpstr>PowerPoint Presentation</vt:lpstr>
      <vt:lpstr>The PPT touchpoint principles </vt:lpstr>
      <vt:lpstr>PowerPoint Presentation</vt:lpstr>
      <vt:lpstr>Menu page with all slides visualised for easy navig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ellence</vt:lpstr>
      <vt:lpstr>PowerPoint Presentation</vt:lpstr>
      <vt:lpstr>Mur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Gareth Allott</cp:lastModifiedBy>
  <cp:revision>7</cp:revision>
  <dcterms:created xsi:type="dcterms:W3CDTF">2021-03-30T06:45:31Z</dcterms:created>
  <dcterms:modified xsi:type="dcterms:W3CDTF">2021-04-09T16:3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